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8"/>
  </p:notesMasterIdLst>
  <p:sldIdLst>
    <p:sldId id="426" r:id="rId2"/>
    <p:sldId id="429" r:id="rId3"/>
    <p:sldId id="430" r:id="rId4"/>
    <p:sldId id="431" r:id="rId5"/>
    <p:sldId id="407" r:id="rId6"/>
    <p:sldId id="423" r:id="rId7"/>
  </p:sldIdLst>
  <p:sldSz cx="12192000" cy="6858000"/>
  <p:notesSz cx="6797675" cy="9926638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426"/>
            <p14:sldId id="429"/>
            <p14:sldId id="430"/>
            <p14:sldId id="431"/>
            <p14:sldId id="407"/>
            <p14:sldId id="423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640" userDrawn="1">
          <p15:clr>
            <a:srgbClr val="A4A3A4"/>
          </p15:clr>
        </p15:guide>
        <p15:guide id="2" pos="461" userDrawn="1">
          <p15:clr>
            <a:srgbClr val="A4A3A4"/>
          </p15:clr>
        </p15:guide>
        <p15:guide id="3" pos="724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464"/>
    <a:srgbClr val="E5D8D3"/>
    <a:srgbClr val="006EF3"/>
    <a:srgbClr val="191919"/>
    <a:srgbClr val="F1F5F9"/>
    <a:srgbClr val="D8E4F0"/>
    <a:srgbClr val="006EF0"/>
    <a:srgbClr val="9F9B9B"/>
    <a:srgbClr val="7030A0"/>
    <a:srgbClr val="FFD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26" autoAdjust="0"/>
    <p:restoredTop sz="96405"/>
  </p:normalViewPr>
  <p:slideViewPr>
    <p:cSldViewPr snapToGrid="0">
      <p:cViewPr>
        <p:scale>
          <a:sx n="120" d="100"/>
          <a:sy n="120" d="100"/>
        </p:scale>
        <p:origin x="-396" y="18"/>
      </p:cViewPr>
      <p:guideLst>
        <p:guide orient="horz" pos="640"/>
        <p:guide pos="461"/>
        <p:guide pos="72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58055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4842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19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7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gi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gif"/><Relationship Id="rId5" Type="http://schemas.openxmlformats.org/officeDocument/2006/relationships/image" Target="../media/image25.gif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57" b="17834"/>
          <a:stretch/>
        </p:blipFill>
        <p:spPr>
          <a:xfrm>
            <a:off x="-6594" y="0"/>
            <a:ext cx="12198594" cy="543261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0" y="2927350"/>
            <a:ext cx="12198350" cy="39306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9168190" y="6099617"/>
            <a:ext cx="1762741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8590330" y="6007284"/>
            <a:ext cx="49487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944767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оссия</a:t>
            </a:r>
            <a:endParaRPr lang="ru-RU" sz="1200" dirty="0">
              <a:solidFill>
                <a:schemeClr val="bg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135743" y="6007284"/>
            <a:ext cx="38151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944767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2022 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87342" y="6099617"/>
            <a:ext cx="5200999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21" y="5793627"/>
            <a:ext cx="2250021" cy="481609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45221" y="3284750"/>
            <a:ext cx="10246074" cy="228726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944767" fontAlgn="auto">
              <a:lnSpc>
                <a:spcPts val="5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4000" dirty="0" smtClean="0">
                <a:gradFill flip="none" rotWithShape="1">
                  <a:gsLst>
                    <a:gs pos="93000">
                      <a:schemeClr val="bg2"/>
                    </a:gs>
                    <a:gs pos="0">
                      <a:schemeClr val="accent2"/>
                    </a:gs>
                  </a:gsLst>
                  <a:lin ang="0" scaled="0"/>
                  <a:tileRect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Как и чем Корпорация МСП может помочь предпринимателям?</a:t>
            </a:r>
            <a:endParaRPr lang="ru-RU" sz="4000" dirty="0">
              <a:gradFill flip="none" rotWithShape="1">
                <a:gsLst>
                  <a:gs pos="93000">
                    <a:schemeClr val="bg2"/>
                  </a:gs>
                  <a:gs pos="0">
                    <a:schemeClr val="accent2"/>
                  </a:gs>
                </a:gsLst>
                <a:lin ang="0" scaled="0"/>
                <a:tileRect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187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4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1"/>
            <a:ext cx="12212848" cy="17900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745220" y="578036"/>
            <a:ext cx="103556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Финансовые меры поддержк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45220" y="1154679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2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граммы </a:t>
            </a:r>
            <a:r>
              <a:rPr lang="ru-RU" sz="2200" spc="7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ьготного кредитования субъектов МСП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320384" y="2638548"/>
            <a:ext cx="2228367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ru-RU" sz="2000" spc="-10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Программа </a:t>
            </a:r>
            <a:r>
              <a:rPr lang="ru-RU" sz="2000" spc="-10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«ПСК»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445438" y="2638548"/>
            <a:ext cx="2252733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defTabSz="914400">
              <a:defRPr/>
            </a:pPr>
            <a:r>
              <a:rPr lang="ru-RU" sz="2000" spc="-10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Программа «1764»</a:t>
            </a: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8208422"/>
              </p:ext>
            </p:extLst>
          </p:nvPr>
        </p:nvGraphicFramePr>
        <p:xfrm>
          <a:off x="1277257" y="3016789"/>
          <a:ext cx="4808319" cy="298768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591610">
                  <a:extLst>
                    <a:ext uri="{9D8B030D-6E8A-4147-A177-3AD203B41FA5}">
                      <a16:colId xmlns:a16="http://schemas.microsoft.com/office/drawing/2014/main" xmlns="" val="928335134"/>
                    </a:ext>
                  </a:extLst>
                </a:gridCol>
                <a:gridCol w="3216709">
                  <a:extLst>
                    <a:ext uri="{9D8B030D-6E8A-4147-A177-3AD203B41FA5}">
                      <a16:colId xmlns:a16="http://schemas.microsoft.com/office/drawing/2014/main" xmlns="" val="860185983"/>
                    </a:ext>
                  </a:extLst>
                </a:gridCol>
              </a:tblGrid>
              <a:tr h="669867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умма</a:t>
                      </a: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</a:b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кредита</a:t>
                      </a:r>
                      <a:endParaRPr lang="ru-RU" sz="1400" b="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  <a:p>
                      <a:endParaRPr lang="ru-RU" sz="1400" dirty="0"/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от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3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н</a:t>
                      </a:r>
                    </a:p>
                  </a:txBody>
                  <a:tcPr marL="0" marR="0" marT="3600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142821448"/>
                  </a:ext>
                </a:extLst>
              </a:tr>
              <a:tr h="65290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1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рд руб.</a:t>
                      </a:r>
                    </a:p>
                  </a:txBody>
                  <a:tcPr marL="0" marR="0" marT="36000" marB="0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93000867"/>
                  </a:ext>
                </a:extLst>
              </a:tr>
              <a:tr h="8613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тавка</a:t>
                      </a:r>
                    </a:p>
                    <a:p>
                      <a:endParaRPr lang="ru-RU" sz="1400" dirty="0"/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800" b="0" kern="0" spc="-3" dirty="0" smtClean="0">
                        <a:solidFill>
                          <a:srgbClr val="292929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0" marR="0" marT="72000" marB="108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489716374"/>
                  </a:ext>
                </a:extLst>
              </a:tr>
              <a:tr h="54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цели</a:t>
                      </a: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на инвестиционные, оборотные </a:t>
                      </a:r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</a:br>
                      <a:r>
                        <a:rPr lang="ru-RU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и на рефинансирование, </a:t>
                      </a:r>
                      <a: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en-US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</a:br>
                      <a:r>
                        <a:rPr lang="ru-RU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ранее полученных кредитов</a:t>
                      </a:r>
                      <a:endParaRPr lang="ru-RU" sz="1600" kern="0" spc="-3" dirty="0" smtClean="0">
                        <a:solidFill>
                          <a:schemeClr val="accent2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27928223"/>
                  </a:ext>
                </a:extLst>
              </a:tr>
            </a:tbl>
          </a:graphicData>
        </a:graphic>
      </p:graphicFrame>
      <p:graphicFrame>
        <p:nvGraphicFramePr>
          <p:cNvPr id="55" name="Таблица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3043859"/>
              </p:ext>
            </p:extLst>
          </p:nvPr>
        </p:nvGraphicFramePr>
        <p:xfrm>
          <a:off x="6115351" y="3016790"/>
          <a:ext cx="4985560" cy="298719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857830">
                  <a:extLst>
                    <a:ext uri="{9D8B030D-6E8A-4147-A177-3AD203B41FA5}">
                      <a16:colId xmlns:a16="http://schemas.microsoft.com/office/drawing/2014/main" xmlns="" val="928335134"/>
                    </a:ext>
                  </a:extLst>
                </a:gridCol>
                <a:gridCol w="3127730">
                  <a:extLst>
                    <a:ext uri="{9D8B030D-6E8A-4147-A177-3AD203B41FA5}">
                      <a16:colId xmlns:a16="http://schemas.microsoft.com/office/drawing/2014/main" xmlns="" val="2726495075"/>
                    </a:ext>
                  </a:extLst>
                </a:gridCol>
              </a:tblGrid>
              <a:tr h="672768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умма</a:t>
                      </a: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</a:b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кредита</a:t>
                      </a:r>
                      <a:endParaRPr lang="ru-RU" sz="1400" b="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1400" dirty="0"/>
                    </a:p>
                  </a:txBody>
                  <a:tcPr marL="360000" marR="0" marT="7200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от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0,5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н</a:t>
                      </a:r>
                    </a:p>
                  </a:txBody>
                  <a:tcPr marL="0" marR="0" marT="3600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142821448"/>
                  </a:ext>
                </a:extLst>
              </a:tr>
              <a:tr h="648762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2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рд руб.</a:t>
                      </a:r>
                    </a:p>
                  </a:txBody>
                  <a:tcPr marL="0" marR="0" marT="36000" marB="0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93000867"/>
                  </a:ext>
                </a:extLst>
              </a:tr>
              <a:tr h="860425">
                <a:tc gridSpan="2">
                  <a:txBody>
                    <a:bodyPr/>
                    <a:lstStyle/>
                    <a:p>
                      <a:pPr marL="2667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тавк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89716374"/>
                  </a:ext>
                </a:extLst>
              </a:tr>
              <a:tr h="8052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цели</a:t>
                      </a:r>
                    </a:p>
                  </a:txBody>
                  <a:tcPr marL="360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на оборотные и инвестиционные</a:t>
                      </a:r>
                      <a:endParaRPr lang="ru-RU" sz="1600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27928223"/>
                  </a:ext>
                </a:extLst>
              </a:tr>
            </a:tbl>
          </a:graphicData>
        </a:graphic>
      </p:graphicFrame>
      <p:cxnSp>
        <p:nvCxnSpPr>
          <p:cNvPr id="56" name="Прямая соединительная линия 55"/>
          <p:cNvCxnSpPr/>
          <p:nvPr/>
        </p:nvCxnSpPr>
        <p:spPr>
          <a:xfrm flipV="1">
            <a:off x="6090414" y="2121065"/>
            <a:ext cx="0" cy="4374314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Группа 56"/>
          <p:cNvGrpSpPr/>
          <p:nvPr/>
        </p:nvGrpSpPr>
        <p:grpSpPr>
          <a:xfrm>
            <a:off x="1277257" y="2085140"/>
            <a:ext cx="1891006" cy="299463"/>
            <a:chOff x="220453" y="1224457"/>
            <a:chExt cx="1891006" cy="299463"/>
          </a:xfrm>
        </p:grpSpPr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xmlns="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8646" y="1224457"/>
              <a:ext cx="572813" cy="299463"/>
            </a:xfrm>
            <a:prstGeom prst="rect">
              <a:avLst/>
            </a:prstGeom>
          </p:spPr>
        </p:pic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xmlns="" id="{4784DF0D-E9E9-9445-A0ED-50461945F9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15" t="24187" r="6517" b="22612"/>
            <a:stretch/>
          </p:blipFill>
          <p:spPr>
            <a:xfrm>
              <a:off x="220453" y="1234710"/>
              <a:ext cx="1143957" cy="278956"/>
            </a:xfrm>
            <a:prstGeom prst="rect">
              <a:avLst/>
            </a:prstGeom>
          </p:spPr>
        </p:pic>
      </p:grpSp>
      <p:grpSp>
        <p:nvGrpSpPr>
          <p:cNvPr id="60" name="Группа 59"/>
          <p:cNvGrpSpPr/>
          <p:nvPr/>
        </p:nvGrpSpPr>
        <p:grpSpPr>
          <a:xfrm>
            <a:off x="6445438" y="2085140"/>
            <a:ext cx="1873501" cy="299463"/>
            <a:chOff x="5158001" y="470013"/>
            <a:chExt cx="1873501" cy="299463"/>
          </a:xfrm>
        </p:grpSpPr>
        <p:pic>
          <p:nvPicPr>
            <p:cNvPr id="61" name="Изображение" descr="Изображение">
              <a:extLst>
                <a:ext uri="{FF2B5EF4-FFF2-40B4-BE49-F238E27FC236}">
                  <a16:creationId xmlns:a16="http://schemas.microsoft.com/office/drawing/2014/main" xmlns="" id="{D719681A-D559-8A44-B064-392B6CA97F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/>
          </p:blipFill>
          <p:spPr>
            <a:xfrm>
              <a:off x="5158001" y="493744"/>
              <a:ext cx="1041990" cy="252000"/>
            </a:xfrm>
            <a:prstGeom prst="rect">
              <a:avLst/>
            </a:prstGeom>
            <a:ln w="12600">
              <a:noFill/>
            </a:ln>
          </p:spPr>
        </p:pic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xmlns="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8689" y="470013"/>
              <a:ext cx="572813" cy="299463"/>
            </a:xfrm>
            <a:prstGeom prst="rect">
              <a:avLst/>
            </a:prstGeom>
          </p:spPr>
        </p:pic>
      </p:grpSp>
      <p:sp>
        <p:nvSpPr>
          <p:cNvPr id="44" name="Прямоугольник 43"/>
          <p:cNvSpPr/>
          <p:nvPr/>
        </p:nvSpPr>
        <p:spPr>
          <a:xfrm>
            <a:off x="7911773" y="4390126"/>
            <a:ext cx="3189137" cy="65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kern="0" spc="-3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о</a:t>
            </a:r>
            <a:r>
              <a:rPr lang="ru-RU" sz="3200" kern="0" spc="-3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2800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0,75</a:t>
            </a:r>
            <a:r>
              <a:rPr lang="ru-RU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%</a:t>
            </a:r>
            <a:r>
              <a:rPr lang="ru-RU" sz="3200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endParaRPr lang="ru-RU" sz="3200" kern="0" spc="-3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58775" lvl="0">
              <a:lnSpc>
                <a:spcPct val="80000"/>
              </a:lnSpc>
              <a:defRPr/>
            </a:pPr>
            <a:r>
              <a:rPr lang="ru-RU" sz="1400" kern="0" spc="-3" dirty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</a:t>
            </a:r>
            <a:r>
              <a:rPr lang="ru-RU" sz="1400" kern="0" spc="-3" dirty="0" smtClean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кро/малых и средних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842869" y="4393150"/>
            <a:ext cx="3385687" cy="65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kern="0" spc="-3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о</a:t>
            </a:r>
            <a:r>
              <a:rPr lang="ru-RU" sz="3200" kern="0" spc="-3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2800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1</a:t>
            </a:r>
            <a:r>
              <a:rPr lang="ru-RU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%</a:t>
            </a:r>
            <a:r>
              <a:rPr lang="ru-RU" sz="3200" kern="0" spc="-3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endParaRPr lang="ru-RU" sz="3200" kern="0" spc="-3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58775" lvl="0">
              <a:lnSpc>
                <a:spcPct val="80000"/>
              </a:lnSpc>
              <a:defRPr/>
            </a:pPr>
            <a:r>
              <a:rPr lang="ru-RU" sz="1400" kern="0" spc="-3" dirty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</a:t>
            </a:r>
            <a:r>
              <a:rPr lang="ru-RU" sz="1400" kern="0" spc="-3" dirty="0" smtClean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кро/малых и средних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306998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000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олилиния 20"/>
          <p:cNvSpPr/>
          <p:nvPr/>
        </p:nvSpPr>
        <p:spPr>
          <a:xfrm>
            <a:off x="5828699" y="4678035"/>
            <a:ext cx="2269916" cy="1297576"/>
          </a:xfrm>
          <a:custGeom>
            <a:avLst/>
            <a:gdLst>
              <a:gd name="connsiteX0" fmla="*/ 98177 w 2005145"/>
              <a:gd name="connsiteY0" fmla="*/ 0 h 1164476"/>
              <a:gd name="connsiteX1" fmla="*/ 1906968 w 2005145"/>
              <a:gd name="connsiteY1" fmla="*/ 0 h 1164476"/>
              <a:gd name="connsiteX2" fmla="*/ 2005145 w 2005145"/>
              <a:gd name="connsiteY2" fmla="*/ 98177 h 1164476"/>
              <a:gd name="connsiteX3" fmla="*/ 2005145 w 2005145"/>
              <a:gd name="connsiteY3" fmla="*/ 1066299 h 1164476"/>
              <a:gd name="connsiteX4" fmla="*/ 1906968 w 2005145"/>
              <a:gd name="connsiteY4" fmla="*/ 1164476 h 1164476"/>
              <a:gd name="connsiteX5" fmla="*/ 98177 w 2005145"/>
              <a:gd name="connsiteY5" fmla="*/ 1164476 h 1164476"/>
              <a:gd name="connsiteX6" fmla="*/ 0 w 2005145"/>
              <a:gd name="connsiteY6" fmla="*/ 1066299 h 1164476"/>
              <a:gd name="connsiteX7" fmla="*/ 0 w 2005145"/>
              <a:gd name="connsiteY7" fmla="*/ 98177 h 1164476"/>
              <a:gd name="connsiteX8" fmla="*/ 98177 w 2005145"/>
              <a:gd name="connsiteY8" fmla="*/ 0 h 116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05145" h="1164476">
                <a:moveTo>
                  <a:pt x="98177" y="0"/>
                </a:moveTo>
                <a:lnTo>
                  <a:pt x="1906968" y="0"/>
                </a:lnTo>
                <a:cubicBezTo>
                  <a:pt x="1961190" y="0"/>
                  <a:pt x="2005145" y="43955"/>
                  <a:pt x="2005145" y="98177"/>
                </a:cubicBezTo>
                <a:lnTo>
                  <a:pt x="2005145" y="1066299"/>
                </a:lnTo>
                <a:cubicBezTo>
                  <a:pt x="2005145" y="1120521"/>
                  <a:pt x="1961190" y="1164476"/>
                  <a:pt x="1906968" y="1164476"/>
                </a:cubicBezTo>
                <a:lnTo>
                  <a:pt x="98177" y="1164476"/>
                </a:lnTo>
                <a:cubicBezTo>
                  <a:pt x="43955" y="1164476"/>
                  <a:pt x="0" y="1120521"/>
                  <a:pt x="0" y="1066299"/>
                </a:cubicBezTo>
                <a:lnTo>
                  <a:pt x="0" y="98177"/>
                </a:lnTo>
                <a:cubicBezTo>
                  <a:pt x="0" y="43955"/>
                  <a:pt x="43955" y="0"/>
                  <a:pt x="98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1"/>
            <a:ext cx="12212848" cy="2136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45220" y="2460827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ддержка инвестиционного </a:t>
            </a:r>
            <a:r>
              <a:rPr lang="ru-RU" sz="2800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проектного </a:t>
            </a:r>
            <a:r>
              <a:rPr lang="ru-RU" sz="2800" dirty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финансирования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3566" y="260660"/>
            <a:ext cx="1607729" cy="401484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45220" y="682162"/>
            <a:ext cx="111120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Механизм льготного кредитования</a:t>
            </a:r>
          </a:p>
          <a:p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</a:t>
            </a:r>
            <a:r>
              <a:rPr lang="ru-RU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иоритетных отраслей </a:t>
            </a:r>
            <a:endParaRPr lang="ru-RU" sz="2400" spc="-100" dirty="0">
              <a:gradFill>
                <a:gsLst>
                  <a:gs pos="0">
                    <a:srgbClr val="FF6464"/>
                  </a:gs>
                  <a:gs pos="100000">
                    <a:schemeClr val="bg2"/>
                  </a:gs>
                </a:gsLst>
                <a:lin ang="0" scaled="0"/>
              </a:gra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420366" y="3195669"/>
            <a:ext cx="7207345" cy="1231106"/>
          </a:xfrm>
          <a:prstGeom prst="rect">
            <a:avLst/>
          </a:prstGeom>
        </p:spPr>
        <p:txBody>
          <a:bodyPr wrap="square" lIns="0" tIns="0" rIns="0" bIns="0" numCol="1" spcCol="144000">
            <a:spAutoFit/>
          </a:bodyPr>
          <a:lstStyle/>
          <a:p>
            <a:pPr marR="2216">
              <a:lnSpc>
                <a:spcPts val="2400"/>
              </a:lnSpc>
              <a:buClr>
                <a:schemeClr val="tx2"/>
              </a:buClr>
            </a:pP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овмещение Программы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субсидирования Минэкономразвития </a:t>
            </a: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1764 </a:t>
            </a:r>
            <a:b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с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Программой стимулирования кредитования Банка России и Корпорации МСП (Программа «ПСК») – </a:t>
            </a:r>
            <a:r>
              <a:rPr lang="ru-RU" sz="1600" spc="5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гарантированная </a:t>
            </a:r>
            <a:r>
              <a:rPr lang="ru-RU" sz="1600" spc="5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льготная процентная ставка для заемщика на 5 </a:t>
            </a:r>
            <a:r>
              <a:rPr lang="ru-RU" sz="1600" spc="5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лет</a:t>
            </a:r>
            <a:endParaRPr lang="ru-RU" sz="1600" spc="5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409" y="326729"/>
            <a:ext cx="1074855" cy="269345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C2AF978C-F368-C14F-AD1E-466D4FF011CB}"/>
              </a:ext>
            </a:extLst>
          </p:cNvPr>
          <p:cNvSpPr/>
          <p:nvPr/>
        </p:nvSpPr>
        <p:spPr>
          <a:xfrm>
            <a:off x="5951653" y="4851766"/>
            <a:ext cx="111267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0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48</a:t>
            </a:r>
            <a:endParaRPr lang="ru-RU" sz="30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828699" y="5326823"/>
            <a:ext cx="20143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банков-участников</a:t>
            </a:r>
            <a:endParaRPr lang="ru-RU" sz="16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435765" y="4507207"/>
            <a:ext cx="1825956" cy="1897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ru-RU" sz="16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риоритетные отрасли:</a:t>
            </a:r>
            <a:endParaRPr lang="ru-RU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рабатывающее </a:t>
            </a:r>
            <a: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роизводство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ереработка</a:t>
            </a:r>
            <a: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ельхозпродукции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логистика</a:t>
            </a: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Segoe UI" panose="020B0502040204020203" pitchFamily="34" charset="0"/>
                <a:cs typeface="Segoe UI" panose="020B0502040204020203" pitchFamily="34" charset="0"/>
              </a:rPr>
              <a:t>г</a:t>
            </a: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остиничный бизнес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288619"/>
            <a:ext cx="595388" cy="307659"/>
          </a:xfrm>
          <a:prstGeom prst="rect">
            <a:avLst/>
          </a:prstGeom>
        </p:spPr>
      </p:pic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4410987"/>
              </p:ext>
            </p:extLst>
          </p:nvPr>
        </p:nvGraphicFramePr>
        <p:xfrm>
          <a:off x="731839" y="3264336"/>
          <a:ext cx="3011876" cy="263201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069391">
                  <a:extLst>
                    <a:ext uri="{9D8B030D-6E8A-4147-A177-3AD203B41FA5}">
                      <a16:colId xmlns:a16="http://schemas.microsoft.com/office/drawing/2014/main" xmlns="" val="928335134"/>
                    </a:ext>
                  </a:extLst>
                </a:gridCol>
                <a:gridCol w="1942485">
                  <a:extLst>
                    <a:ext uri="{9D8B030D-6E8A-4147-A177-3AD203B41FA5}">
                      <a16:colId xmlns:a16="http://schemas.microsoft.com/office/drawing/2014/main" xmlns="" val="860185983"/>
                    </a:ext>
                  </a:extLst>
                </a:gridCol>
              </a:tblGrid>
              <a:tr h="669867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умма</a:t>
                      </a: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</a:b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кредита</a:t>
                      </a:r>
                      <a:endParaRPr lang="ru-RU" sz="1400" b="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  <a:p>
                      <a:endParaRPr lang="ru-RU" sz="1400" dirty="0"/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от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50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н</a:t>
                      </a:r>
                    </a:p>
                  </a:txBody>
                  <a:tcPr marL="0" marR="0" marT="3600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142821448"/>
                  </a:ext>
                </a:extLst>
              </a:tr>
              <a:tr h="65290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1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рд руб.</a:t>
                      </a:r>
                    </a:p>
                  </a:txBody>
                  <a:tcPr marL="0" marR="0" marT="36000" marB="0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93000867"/>
                  </a:ext>
                </a:extLst>
              </a:tr>
              <a:tr h="7251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тавка</a:t>
                      </a: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/>
                      </a:pPr>
                      <a:r>
                        <a:rPr lang="ru-RU" sz="1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</a:t>
                      </a:r>
                      <a:r>
                        <a:rPr lang="ru-RU" sz="1800" kern="0" spc="-3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2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4,0%</a:t>
                      </a:r>
                      <a:endParaRPr lang="ru-RU" sz="2800" kern="0" spc="-3" dirty="0" smtClean="0">
                        <a:solidFill>
                          <a:srgbClr val="FF6464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  <a:p>
                      <a:pPr marL="358775" lvl="0">
                        <a:lnSpc>
                          <a:spcPct val="80000"/>
                        </a:lnSpc>
                        <a:defRPr/>
                      </a:pPr>
                      <a:r>
                        <a:rPr lang="ru-RU" sz="1400" kern="0" spc="-3" dirty="0" smtClean="0">
                          <a:solidFill>
                            <a:srgbClr val="FF6464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микро/малых</a:t>
                      </a:r>
                    </a:p>
                  </a:txBody>
                  <a:tcPr marL="0" marR="0" marT="72000" marB="108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489716374"/>
                  </a:ext>
                </a:extLst>
              </a:tr>
              <a:tr h="54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/>
                      </a:pPr>
                      <a:r>
                        <a:rPr lang="ru-RU" sz="1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</a:t>
                      </a:r>
                      <a:r>
                        <a:rPr lang="ru-RU" sz="1800" kern="0" spc="-3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2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2,5%</a:t>
                      </a:r>
                      <a:endParaRPr lang="ru-RU" sz="2800" kern="0" spc="-3" dirty="0" smtClean="0">
                        <a:solidFill>
                          <a:srgbClr val="FF6464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  <a:p>
                      <a:pPr marL="358775" lvl="0">
                        <a:lnSpc>
                          <a:spcPct val="80000"/>
                        </a:lnSpc>
                        <a:defRPr/>
                      </a:pPr>
                      <a:r>
                        <a:rPr lang="ru-RU" sz="1400" kern="0" spc="-3" dirty="0" smtClean="0">
                          <a:solidFill>
                            <a:srgbClr val="FF6464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средних</a:t>
                      </a:r>
                    </a:p>
                  </a:txBody>
                  <a:tcPr marL="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27928223"/>
                  </a:ext>
                </a:extLst>
              </a:tr>
            </a:tbl>
          </a:graphicData>
        </a:graphic>
      </p:graphicFrame>
      <p:cxnSp>
        <p:nvCxnSpPr>
          <p:cNvPr id="27" name="Прямая соединительная линия 26"/>
          <p:cNvCxnSpPr/>
          <p:nvPr/>
        </p:nvCxnSpPr>
        <p:spPr>
          <a:xfrm flipV="1">
            <a:off x="4060225" y="3293824"/>
            <a:ext cx="0" cy="2602524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364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-25133" y="0"/>
            <a:ext cx="57984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426739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60068" y="3405766"/>
            <a:ext cx="453773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ручительство по кредиту предоставляется в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банке</a:t>
            </a:r>
            <a:endParaRPr kumimoji="0" lang="ru-RU" sz="1600" b="0" i="0" u="none" strike="noStrike" kern="1200" cap="none" spc="7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700092" y="835199"/>
            <a:ext cx="5952496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«Зонтичный» </a:t>
            </a:r>
          </a:p>
          <a:p>
            <a:pPr marR="2786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механизм </a:t>
            </a:r>
          </a:p>
          <a:p>
            <a:pPr marR="2786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ручительств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42058" y="4090380"/>
            <a:ext cx="455574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ru-RU" sz="1600" spc="7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есплатно</a:t>
            </a:r>
            <a:r>
              <a:rPr kumimoji="0" lang="ru-RU" sz="1600" b="0" i="0" u="none" strike="noStrike" kern="1200" cap="none" spc="7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- к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миссию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 поручительство платит банк,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е предприниматель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42025" y="4776728"/>
            <a:ext cx="4698658" cy="8797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умма поручительства - до 1 млрд руб.</a:t>
            </a:r>
          </a:p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</a:t>
            </a: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рантийное </a:t>
            </a: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</a:t>
            </a:r>
            <a:r>
              <a:rPr kumimoji="0" lang="ru-RU" sz="1600" b="0" i="0" u="none" strike="noStrike" kern="1200" cap="none" spc="7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крытие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– </a:t>
            </a: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50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%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т суммы кредита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1330865" y="306998"/>
            <a:ext cx="595388" cy="307659"/>
          </a:xfrm>
          <a:prstGeom prst="rect">
            <a:avLst/>
          </a:prstGeom>
        </p:spPr>
      </p:pic>
      <p:sp>
        <p:nvSpPr>
          <p:cNvPr id="13" name="Номер слайда 1"/>
          <p:cNvSpPr txBox="1">
            <a:spLocks/>
          </p:cNvSpPr>
          <p:nvPr/>
        </p:nvSpPr>
        <p:spPr>
          <a:xfrm>
            <a:off x="11140884" y="6446613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760068" y="2716757"/>
            <a:ext cx="453773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defTabSz="457200"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рощенный способ получить кредит, </a:t>
            </a:r>
            <a:r>
              <a:rPr lang="en-US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сли </a:t>
            </a: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 вас не хватает </a:t>
            </a: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лога</a:t>
            </a:r>
            <a:endParaRPr lang="ru-RU" sz="160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C2AF978C-F368-C14F-AD1E-466D4FF011CB}"/>
              </a:ext>
            </a:extLst>
          </p:cNvPr>
          <p:cNvSpPr/>
          <p:nvPr/>
        </p:nvSpPr>
        <p:spPr>
          <a:xfrm>
            <a:off x="6240221" y="824575"/>
            <a:ext cx="980338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45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2</a:t>
            </a:r>
            <a:endParaRPr lang="ru-RU" sz="45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940276" y="1025387"/>
            <a:ext cx="29239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spc="7" dirty="0">
                <a:latin typeface="Segoe UI" panose="020B0502040204020203" pitchFamily="34" charset="0"/>
                <a:cs typeface="Segoe UI" panose="020B0502040204020203" pitchFamily="34" charset="0"/>
              </a:rPr>
              <a:t>банков-участников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Финансовые меры поддержки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282733" y="6245890"/>
            <a:ext cx="1976054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</a:t>
            </a:r>
            <a:r>
              <a:rPr lang="ru-RU" sz="1200" spc="3" noProof="0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9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0</a:t>
            </a:r>
            <a:r>
              <a:rPr kumimoji="0" lang="en-US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2022</a:t>
            </a:r>
            <a:endParaRPr kumimoji="0" lang="ru-RU" sz="12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xmlns="" id="{4F93827C-2093-8D42-809E-5869A0388E9F}"/>
              </a:ext>
            </a:extLst>
          </p:cNvPr>
          <p:cNvSpPr/>
          <p:nvPr/>
        </p:nvSpPr>
        <p:spPr>
          <a:xfrm>
            <a:off x="6282733" y="3582585"/>
            <a:ext cx="521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6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д</a:t>
            </a:r>
            <a:r>
              <a:rPr lang="ru-RU" sz="1600" kern="0" spc="-3" dirty="0" smtClean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оступно предпринимателям со всех регионов</a:t>
            </a:r>
            <a:endParaRPr lang="ru-RU" sz="1600" kern="0" spc="-3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6282733" y="4243932"/>
            <a:ext cx="4060626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73 млрд</a:t>
            </a:r>
            <a:r>
              <a:rPr lang="en-US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ублей</a:t>
            </a:r>
            <a:endParaRPr lang="ru-RU" sz="32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6282733" y="4906325"/>
            <a:ext cx="522275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Aft>
                <a:spcPts val="400"/>
              </a:spcAft>
            </a:pP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ъем </a:t>
            </a: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кредитов с применением </a:t>
            </a: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«зонтичного» механизма </a:t>
            </a:r>
            <a:endParaRPr lang="ru-RU" sz="14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900742" y="306999"/>
            <a:ext cx="604745" cy="322513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6240221" y="1682172"/>
            <a:ext cx="5015838" cy="1714639"/>
            <a:chOff x="6228775" y="1751903"/>
            <a:chExt cx="5507223" cy="1882617"/>
          </a:xfrm>
        </p:grpSpPr>
        <p:pic>
          <p:nvPicPr>
            <p:cNvPr id="28" name="Picture 4" descr="СОВКОМБАНК в Санкт-Петербурге - кредитные карты, отзывы, реквизиты,  конакты, банкоматы и отделения - Banklab.ru">
              <a:extLst>
                <a:ext uri="{FF2B5EF4-FFF2-40B4-BE49-F238E27FC236}">
                  <a16:creationId xmlns:a16="http://schemas.microsoft.com/office/drawing/2014/main" xmlns="" id="{139D6BE1-CE67-0B41-911F-6E710F7508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7692" b="35183"/>
            <a:stretch/>
          </p:blipFill>
          <p:spPr bwMode="auto">
            <a:xfrm>
              <a:off x="8341757" y="3296586"/>
              <a:ext cx="1121679" cy="194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6" descr="Ак Барс (банк) — Википедия">
              <a:extLst>
                <a:ext uri="{FF2B5EF4-FFF2-40B4-BE49-F238E27FC236}">
                  <a16:creationId xmlns:a16="http://schemas.microsoft.com/office/drawing/2014/main" xmlns="" id="{A9B557FF-DDE7-2B4E-AD4F-F575CF5FCB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47090" y="3208672"/>
              <a:ext cx="494602" cy="3387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Файл:Otkritie logo 2017.png — Википедия">
              <a:extLst>
                <a:ext uri="{FF2B5EF4-FFF2-40B4-BE49-F238E27FC236}">
                  <a16:creationId xmlns:a16="http://schemas.microsoft.com/office/drawing/2014/main" xmlns="" id="{CF0367E9-A663-ED43-81E6-1BAC88369C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086" b="11992"/>
            <a:stretch/>
          </p:blipFill>
          <p:spPr bwMode="auto">
            <a:xfrm>
              <a:off x="6241829" y="1846950"/>
              <a:ext cx="1035676" cy="3001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Российский национальный коммерческий банк — Википедия">
              <a:extLst>
                <a:ext uri="{FF2B5EF4-FFF2-40B4-BE49-F238E27FC236}">
                  <a16:creationId xmlns:a16="http://schemas.microsoft.com/office/drawing/2014/main" xmlns="" id="{3B504ECB-8262-A146-9295-50B6CD04A2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08538" y="3198987"/>
              <a:ext cx="525531" cy="3276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4" descr="Файл:VTB Logo 2018.svg — Википедия">
              <a:extLst>
                <a:ext uri="{FF2B5EF4-FFF2-40B4-BE49-F238E27FC236}">
                  <a16:creationId xmlns:a16="http://schemas.microsoft.com/office/drawing/2014/main" xmlns="" id="{489356B7-0643-DB41-92CA-85E09EEB50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21892" y="1875577"/>
              <a:ext cx="621284" cy="2227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новый логотип сбербанка 2020 на прозрачном фоне (пнг)– новый логотип  сбербанка 2020 png">
              <a:extLst>
                <a:ext uri="{FF2B5EF4-FFF2-40B4-BE49-F238E27FC236}">
                  <a16:creationId xmlns:a16="http://schemas.microsoft.com/office/drawing/2014/main" xmlns="" id="{2D08F332-50E1-7D4A-8629-94C31F406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9303" y="1903490"/>
              <a:ext cx="738912" cy="2064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0" descr="Логотип Промсвязьбанк (ПСБ) / Банки и финансы / TopLogos.ru">
              <a:extLst>
                <a:ext uri="{FF2B5EF4-FFF2-40B4-BE49-F238E27FC236}">
                  <a16:creationId xmlns:a16="http://schemas.microsoft.com/office/drawing/2014/main" xmlns="" id="{E0639608-D003-294F-BF1C-6FBA5C50CD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69476" y="2399342"/>
              <a:ext cx="778305" cy="552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2" descr="Зенит (банк) — Википедия">
              <a:extLst>
                <a:ext uri="{FF2B5EF4-FFF2-40B4-BE49-F238E27FC236}">
                  <a16:creationId xmlns:a16="http://schemas.microsoft.com/office/drawing/2014/main" xmlns="" id="{894EF2DE-8B6A-384E-A725-E7C8FF2143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6249" y="3198806"/>
              <a:ext cx="580598" cy="3237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6228775" y="1751903"/>
              <a:ext cx="1132153" cy="513227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7439956" y="1751903"/>
              <a:ext cx="991008" cy="513229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8535159" y="1751903"/>
              <a:ext cx="908755" cy="513227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олилиния 54"/>
            <p:cNvSpPr/>
            <p:nvPr/>
          </p:nvSpPr>
          <p:spPr>
            <a:xfrm>
              <a:off x="6241342" y="2441806"/>
              <a:ext cx="1076399" cy="495421"/>
            </a:xfrm>
            <a:custGeom>
              <a:avLst/>
              <a:gdLst>
                <a:gd name="connsiteX0" fmla="*/ 0 w 1076399"/>
                <a:gd name="connsiteY0" fmla="*/ 263994 h 527990"/>
                <a:gd name="connsiteX1" fmla="*/ 0 w 1076399"/>
                <a:gd name="connsiteY1" fmla="*/ 263995 h 527990"/>
                <a:gd name="connsiteX2" fmla="*/ 0 w 1076399"/>
                <a:gd name="connsiteY2" fmla="*/ 263995 h 527990"/>
                <a:gd name="connsiteX3" fmla="*/ 263995 w 1076399"/>
                <a:gd name="connsiteY3" fmla="*/ 0 h 527990"/>
                <a:gd name="connsiteX4" fmla="*/ 812404 w 1076399"/>
                <a:gd name="connsiteY4" fmla="*/ 0 h 527990"/>
                <a:gd name="connsiteX5" fmla="*/ 1076399 w 1076399"/>
                <a:gd name="connsiteY5" fmla="*/ 263995 h 527990"/>
                <a:gd name="connsiteX6" fmla="*/ 1076398 w 1076399"/>
                <a:gd name="connsiteY6" fmla="*/ 263995 h 527990"/>
                <a:gd name="connsiteX7" fmla="*/ 865607 w 1076399"/>
                <a:gd name="connsiteY7" fmla="*/ 522627 h 527990"/>
                <a:gd name="connsiteX8" fmla="*/ 812405 w 1076399"/>
                <a:gd name="connsiteY8" fmla="*/ 527990 h 527990"/>
                <a:gd name="connsiteX9" fmla="*/ 263995 w 1076399"/>
                <a:gd name="connsiteY9" fmla="*/ 527989 h 527990"/>
                <a:gd name="connsiteX10" fmla="*/ 20746 w 1076399"/>
                <a:gd name="connsiteY10" fmla="*/ 366753 h 527990"/>
                <a:gd name="connsiteX11" fmla="*/ 0 w 1076399"/>
                <a:gd name="connsiteY11" fmla="*/ 263995 h 527990"/>
                <a:gd name="connsiteX12" fmla="*/ 20746 w 1076399"/>
                <a:gd name="connsiteY12" fmla="*/ 161237 h 527990"/>
                <a:gd name="connsiteX13" fmla="*/ 263995 w 1076399"/>
                <a:gd name="connsiteY13" fmla="*/ 0 h 527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6399" h="527990">
                  <a:moveTo>
                    <a:pt x="0" y="263994"/>
                  </a:moveTo>
                  <a:lnTo>
                    <a:pt x="0" y="263995"/>
                  </a:lnTo>
                  <a:lnTo>
                    <a:pt x="0" y="263995"/>
                  </a:lnTo>
                  <a:close/>
                  <a:moveTo>
                    <a:pt x="263995" y="0"/>
                  </a:moveTo>
                  <a:lnTo>
                    <a:pt x="812404" y="0"/>
                  </a:lnTo>
                  <a:cubicBezTo>
                    <a:pt x="958204" y="0"/>
                    <a:pt x="1076399" y="118195"/>
                    <a:pt x="1076399" y="263995"/>
                  </a:cubicBezTo>
                  <a:lnTo>
                    <a:pt x="1076398" y="263995"/>
                  </a:lnTo>
                  <a:cubicBezTo>
                    <a:pt x="1076398" y="391570"/>
                    <a:pt x="985905" y="498010"/>
                    <a:pt x="865607" y="522627"/>
                  </a:cubicBezTo>
                  <a:lnTo>
                    <a:pt x="812405" y="527990"/>
                  </a:lnTo>
                  <a:lnTo>
                    <a:pt x="263995" y="527989"/>
                  </a:lnTo>
                  <a:cubicBezTo>
                    <a:pt x="154645" y="527989"/>
                    <a:pt x="60823" y="461504"/>
                    <a:pt x="20746" y="366753"/>
                  </a:cubicBezTo>
                  <a:lnTo>
                    <a:pt x="0" y="263995"/>
                  </a:lnTo>
                  <a:lnTo>
                    <a:pt x="20746" y="161237"/>
                  </a:lnTo>
                  <a:cubicBezTo>
                    <a:pt x="60823" y="66485"/>
                    <a:pt x="154645" y="0"/>
                    <a:pt x="263995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8716909" y="2441806"/>
              <a:ext cx="1413816" cy="485799"/>
              <a:chOff x="8877354" y="2441806"/>
              <a:chExt cx="1413816" cy="485799"/>
            </a:xfrm>
          </p:grpSpPr>
          <p:pic>
            <p:nvPicPr>
              <p:cNvPr id="25" name="Picture 2" descr="https://xn--32-9kcqjffxnf3b.xn--p1ai/upload/iblock/033/033cfc91b35e479e09206109748af9db.png">
                <a:extLst>
                  <a:ext uri="{FF2B5EF4-FFF2-40B4-BE49-F238E27FC236}">
                    <a16:creationId xmlns:a16="http://schemas.microsoft.com/office/drawing/2014/main" xmlns="" id="{0EF31431-AA0B-9441-8672-A83A921BB50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36114" y="2602924"/>
                <a:ext cx="1062164" cy="2236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5" name="Скругленный прямоугольник 44"/>
              <p:cNvSpPr/>
              <p:nvPr/>
            </p:nvSpPr>
            <p:spPr>
              <a:xfrm>
                <a:off x="8877354" y="2441806"/>
                <a:ext cx="1413816" cy="485799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46" name="Скругленный прямоугольник 45"/>
            <p:cNvSpPr/>
            <p:nvPr/>
          </p:nvSpPr>
          <p:spPr>
            <a:xfrm>
              <a:off x="8229842" y="3122680"/>
              <a:ext cx="1357303" cy="511839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Скругленный прямоугольник 46"/>
            <p:cNvSpPr/>
            <p:nvPr/>
          </p:nvSpPr>
          <p:spPr>
            <a:xfrm>
              <a:off x="6241342" y="3122680"/>
              <a:ext cx="932986" cy="51184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Скругленный прямоугольник 48"/>
            <p:cNvSpPr/>
            <p:nvPr/>
          </p:nvSpPr>
          <p:spPr>
            <a:xfrm>
              <a:off x="9535698" y="1751903"/>
              <a:ext cx="1443274" cy="513227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0" name="Picture 2">
              <a:extLst>
                <a:ext uri="{FF2B5EF4-FFF2-40B4-BE49-F238E27FC236}">
                  <a16:creationId xmlns:a16="http://schemas.microsoft.com/office/drawing/2014/main" xmlns="" id="{0EF31431-AA0B-9441-8672-A83A921BB5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686955" y="1857100"/>
              <a:ext cx="1140760" cy="299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Группа 4"/>
            <p:cNvGrpSpPr/>
            <p:nvPr/>
          </p:nvGrpSpPr>
          <p:grpSpPr>
            <a:xfrm>
              <a:off x="7399085" y="2441806"/>
              <a:ext cx="1267198" cy="492108"/>
              <a:chOff x="7497670" y="2441806"/>
              <a:chExt cx="1267198" cy="492108"/>
            </a:xfrm>
          </p:grpSpPr>
          <p:pic>
            <p:nvPicPr>
              <p:cNvPr id="37" name="Picture 2" descr="Файл:Альфа-банк Україна.png — Википедия">
                <a:extLst>
                  <a:ext uri="{FF2B5EF4-FFF2-40B4-BE49-F238E27FC236}">
                    <a16:creationId xmlns:a16="http://schemas.microsoft.com/office/drawing/2014/main" xmlns="" id="{F8DFF89C-5E3C-E448-8135-BDFFDDDB2C6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39063" y="2530346"/>
                <a:ext cx="864568" cy="30253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7" name="Полилиния 56"/>
              <p:cNvSpPr/>
              <p:nvPr/>
            </p:nvSpPr>
            <p:spPr>
              <a:xfrm>
                <a:off x="7497670" y="2441806"/>
                <a:ext cx="1267198" cy="492108"/>
              </a:xfrm>
              <a:custGeom>
                <a:avLst/>
                <a:gdLst>
                  <a:gd name="connsiteX0" fmla="*/ 263995 w 1267198"/>
                  <a:gd name="connsiteY0" fmla="*/ 0 h 527990"/>
                  <a:gd name="connsiteX1" fmla="*/ 1003203 w 1267198"/>
                  <a:gd name="connsiteY1" fmla="*/ 0 h 527990"/>
                  <a:gd name="connsiteX2" fmla="*/ 1267198 w 1267198"/>
                  <a:gd name="connsiteY2" fmla="*/ 263995 h 527990"/>
                  <a:gd name="connsiteX3" fmla="*/ 1003203 w 1267198"/>
                  <a:gd name="connsiteY3" fmla="*/ 527990 h 527990"/>
                  <a:gd name="connsiteX4" fmla="*/ 263995 w 1267198"/>
                  <a:gd name="connsiteY4" fmla="*/ 527990 h 527990"/>
                  <a:gd name="connsiteX5" fmla="*/ 0 w 1267198"/>
                  <a:gd name="connsiteY5" fmla="*/ 263995 h 527990"/>
                  <a:gd name="connsiteX6" fmla="*/ 263995 w 1267198"/>
                  <a:gd name="connsiteY6" fmla="*/ 0 h 527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7198" h="527990">
                    <a:moveTo>
                      <a:pt x="263995" y="0"/>
                    </a:moveTo>
                    <a:lnTo>
                      <a:pt x="1003203" y="0"/>
                    </a:lnTo>
                    <a:cubicBezTo>
                      <a:pt x="1149003" y="0"/>
                      <a:pt x="1267198" y="118195"/>
                      <a:pt x="1267198" y="263995"/>
                    </a:cubicBezTo>
                    <a:cubicBezTo>
                      <a:pt x="1267198" y="409795"/>
                      <a:pt x="1149003" y="527990"/>
                      <a:pt x="1003203" y="527990"/>
                    </a:cubicBezTo>
                    <a:lnTo>
                      <a:pt x="263995" y="527990"/>
                    </a:lnTo>
                    <a:cubicBezTo>
                      <a:pt x="118195" y="527990"/>
                      <a:pt x="0" y="409795"/>
                      <a:pt x="0" y="263995"/>
                    </a:cubicBezTo>
                    <a:cubicBezTo>
                      <a:pt x="0" y="118195"/>
                      <a:pt x="118195" y="0"/>
                      <a:pt x="263995" y="0"/>
                    </a:cubicBezTo>
                    <a:close/>
                  </a:path>
                </a:pathLst>
              </a:cu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65" name="Полилиния 64"/>
            <p:cNvSpPr/>
            <p:nvPr/>
          </p:nvSpPr>
          <p:spPr>
            <a:xfrm>
              <a:off x="7254066" y="3122679"/>
              <a:ext cx="916352" cy="511840"/>
            </a:xfrm>
            <a:custGeom>
              <a:avLst/>
              <a:gdLst>
                <a:gd name="connsiteX0" fmla="*/ 231426 w 858653"/>
                <a:gd name="connsiteY0" fmla="*/ 0 h 462852"/>
                <a:gd name="connsiteX1" fmla="*/ 627227 w 858653"/>
                <a:gd name="connsiteY1" fmla="*/ 0 h 462852"/>
                <a:gd name="connsiteX2" fmla="*/ 858653 w 858653"/>
                <a:gd name="connsiteY2" fmla="*/ 231426 h 462852"/>
                <a:gd name="connsiteX3" fmla="*/ 627227 w 858653"/>
                <a:gd name="connsiteY3" fmla="*/ 462852 h 462852"/>
                <a:gd name="connsiteX4" fmla="*/ 231426 w 858653"/>
                <a:gd name="connsiteY4" fmla="*/ 462852 h 462852"/>
                <a:gd name="connsiteX5" fmla="*/ 0 w 858653"/>
                <a:gd name="connsiteY5" fmla="*/ 231426 h 462852"/>
                <a:gd name="connsiteX6" fmla="*/ 231426 w 858653"/>
                <a:gd name="connsiteY6" fmla="*/ 0 h 462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8653" h="462852">
                  <a:moveTo>
                    <a:pt x="231426" y="0"/>
                  </a:moveTo>
                  <a:lnTo>
                    <a:pt x="627227" y="0"/>
                  </a:lnTo>
                  <a:cubicBezTo>
                    <a:pt x="755040" y="0"/>
                    <a:pt x="858653" y="103613"/>
                    <a:pt x="858653" y="231426"/>
                  </a:cubicBezTo>
                  <a:cubicBezTo>
                    <a:pt x="858653" y="359239"/>
                    <a:pt x="755040" y="462852"/>
                    <a:pt x="627227" y="462852"/>
                  </a:cubicBezTo>
                  <a:lnTo>
                    <a:pt x="231426" y="462852"/>
                  </a:lnTo>
                  <a:cubicBezTo>
                    <a:pt x="103613" y="462852"/>
                    <a:pt x="0" y="359239"/>
                    <a:pt x="0" y="231426"/>
                  </a:cubicBezTo>
                  <a:cubicBezTo>
                    <a:pt x="0" y="103613"/>
                    <a:pt x="103613" y="0"/>
                    <a:pt x="231426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71" name="Полилиния 70"/>
            <p:cNvSpPr/>
            <p:nvPr/>
          </p:nvSpPr>
          <p:spPr>
            <a:xfrm>
              <a:off x="9649638" y="3122680"/>
              <a:ext cx="1028524" cy="511839"/>
            </a:xfrm>
            <a:custGeom>
              <a:avLst/>
              <a:gdLst>
                <a:gd name="connsiteX0" fmla="*/ 231426 w 930087"/>
                <a:gd name="connsiteY0" fmla="*/ 0 h 462852"/>
                <a:gd name="connsiteX1" fmla="*/ 698661 w 930087"/>
                <a:gd name="connsiteY1" fmla="*/ 0 h 462852"/>
                <a:gd name="connsiteX2" fmla="*/ 930087 w 930087"/>
                <a:gd name="connsiteY2" fmla="*/ 231426 h 462852"/>
                <a:gd name="connsiteX3" fmla="*/ 698661 w 930087"/>
                <a:gd name="connsiteY3" fmla="*/ 462852 h 462852"/>
                <a:gd name="connsiteX4" fmla="*/ 231426 w 930087"/>
                <a:gd name="connsiteY4" fmla="*/ 462852 h 462852"/>
                <a:gd name="connsiteX5" fmla="*/ 0 w 930087"/>
                <a:gd name="connsiteY5" fmla="*/ 231426 h 462852"/>
                <a:gd name="connsiteX6" fmla="*/ 231426 w 930087"/>
                <a:gd name="connsiteY6" fmla="*/ 0 h 462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0087" h="462852">
                  <a:moveTo>
                    <a:pt x="231426" y="0"/>
                  </a:moveTo>
                  <a:lnTo>
                    <a:pt x="698661" y="0"/>
                  </a:lnTo>
                  <a:cubicBezTo>
                    <a:pt x="826474" y="0"/>
                    <a:pt x="930087" y="103613"/>
                    <a:pt x="930087" y="231426"/>
                  </a:cubicBezTo>
                  <a:cubicBezTo>
                    <a:pt x="930087" y="359239"/>
                    <a:pt x="826474" y="462852"/>
                    <a:pt x="698661" y="462852"/>
                  </a:cubicBezTo>
                  <a:lnTo>
                    <a:pt x="231426" y="462852"/>
                  </a:lnTo>
                  <a:cubicBezTo>
                    <a:pt x="103613" y="462852"/>
                    <a:pt x="0" y="359239"/>
                    <a:pt x="0" y="231426"/>
                  </a:cubicBezTo>
                  <a:cubicBezTo>
                    <a:pt x="0" y="103613"/>
                    <a:pt x="103613" y="0"/>
                    <a:pt x="231426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grpSp>
          <p:nvGrpSpPr>
            <p:cNvPr id="3" name="Группа 2"/>
            <p:cNvGrpSpPr/>
            <p:nvPr/>
          </p:nvGrpSpPr>
          <p:grpSpPr>
            <a:xfrm>
              <a:off x="10221946" y="2441805"/>
              <a:ext cx="1514052" cy="485798"/>
              <a:chOff x="10384060" y="2441805"/>
              <a:chExt cx="1514052" cy="485798"/>
            </a:xfrm>
          </p:grpSpPr>
          <p:pic>
            <p:nvPicPr>
              <p:cNvPr id="63" name="Рисунок 62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98204" y="2483109"/>
                <a:ext cx="1327662" cy="421480"/>
              </a:xfrm>
              <a:prstGeom prst="rect">
                <a:avLst/>
              </a:prstGeom>
            </p:spPr>
          </p:pic>
          <p:sp>
            <p:nvSpPr>
              <p:cNvPr id="77" name="Полилиния 76"/>
              <p:cNvSpPr/>
              <p:nvPr/>
            </p:nvSpPr>
            <p:spPr>
              <a:xfrm>
                <a:off x="10384060" y="2441805"/>
                <a:ext cx="1514052" cy="485798"/>
              </a:xfrm>
              <a:custGeom>
                <a:avLst/>
                <a:gdLst>
                  <a:gd name="connsiteX0" fmla="*/ 231426 w 1514052"/>
                  <a:gd name="connsiteY0" fmla="*/ 0 h 462852"/>
                  <a:gd name="connsiteX1" fmla="*/ 358690 w 1514052"/>
                  <a:gd name="connsiteY1" fmla="*/ 0 h 462852"/>
                  <a:gd name="connsiteX2" fmla="*/ 688127 w 1514052"/>
                  <a:gd name="connsiteY2" fmla="*/ 0 h 462852"/>
                  <a:gd name="connsiteX3" fmla="*/ 698661 w 1514052"/>
                  <a:gd name="connsiteY3" fmla="*/ 0 h 462852"/>
                  <a:gd name="connsiteX4" fmla="*/ 815391 w 1514052"/>
                  <a:gd name="connsiteY4" fmla="*/ 0 h 462852"/>
                  <a:gd name="connsiteX5" fmla="*/ 825925 w 1514052"/>
                  <a:gd name="connsiteY5" fmla="*/ 0 h 462852"/>
                  <a:gd name="connsiteX6" fmla="*/ 1155362 w 1514052"/>
                  <a:gd name="connsiteY6" fmla="*/ 0 h 462852"/>
                  <a:gd name="connsiteX7" fmla="*/ 1282626 w 1514052"/>
                  <a:gd name="connsiteY7" fmla="*/ 0 h 462852"/>
                  <a:gd name="connsiteX8" fmla="*/ 1514052 w 1514052"/>
                  <a:gd name="connsiteY8" fmla="*/ 231426 h 462852"/>
                  <a:gd name="connsiteX9" fmla="*/ 1282626 w 1514052"/>
                  <a:gd name="connsiteY9" fmla="*/ 462852 h 462852"/>
                  <a:gd name="connsiteX10" fmla="*/ 1155362 w 1514052"/>
                  <a:gd name="connsiteY10" fmla="*/ 462852 h 462852"/>
                  <a:gd name="connsiteX11" fmla="*/ 825925 w 1514052"/>
                  <a:gd name="connsiteY11" fmla="*/ 462852 h 462852"/>
                  <a:gd name="connsiteX12" fmla="*/ 815391 w 1514052"/>
                  <a:gd name="connsiteY12" fmla="*/ 462852 h 462852"/>
                  <a:gd name="connsiteX13" fmla="*/ 698661 w 1514052"/>
                  <a:gd name="connsiteY13" fmla="*/ 462852 h 462852"/>
                  <a:gd name="connsiteX14" fmla="*/ 688127 w 1514052"/>
                  <a:gd name="connsiteY14" fmla="*/ 462852 h 462852"/>
                  <a:gd name="connsiteX15" fmla="*/ 358690 w 1514052"/>
                  <a:gd name="connsiteY15" fmla="*/ 462852 h 462852"/>
                  <a:gd name="connsiteX16" fmla="*/ 231426 w 1514052"/>
                  <a:gd name="connsiteY16" fmla="*/ 462852 h 462852"/>
                  <a:gd name="connsiteX17" fmla="*/ 0 w 1514052"/>
                  <a:gd name="connsiteY17" fmla="*/ 231426 h 462852"/>
                  <a:gd name="connsiteX18" fmla="*/ 231426 w 1514052"/>
                  <a:gd name="connsiteY18" fmla="*/ 0 h 462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14052" h="462852">
                    <a:moveTo>
                      <a:pt x="231426" y="0"/>
                    </a:moveTo>
                    <a:lnTo>
                      <a:pt x="358690" y="0"/>
                    </a:lnTo>
                    <a:lnTo>
                      <a:pt x="688127" y="0"/>
                    </a:lnTo>
                    <a:lnTo>
                      <a:pt x="698661" y="0"/>
                    </a:lnTo>
                    <a:lnTo>
                      <a:pt x="815391" y="0"/>
                    </a:lnTo>
                    <a:lnTo>
                      <a:pt x="825925" y="0"/>
                    </a:lnTo>
                    <a:lnTo>
                      <a:pt x="1155362" y="0"/>
                    </a:lnTo>
                    <a:lnTo>
                      <a:pt x="1282626" y="0"/>
                    </a:lnTo>
                    <a:cubicBezTo>
                      <a:pt x="1410439" y="0"/>
                      <a:pt x="1514052" y="103613"/>
                      <a:pt x="1514052" y="231426"/>
                    </a:cubicBezTo>
                    <a:cubicBezTo>
                      <a:pt x="1514052" y="359239"/>
                      <a:pt x="1410439" y="462852"/>
                      <a:pt x="1282626" y="462852"/>
                    </a:cubicBezTo>
                    <a:lnTo>
                      <a:pt x="1155362" y="462852"/>
                    </a:lnTo>
                    <a:lnTo>
                      <a:pt x="825925" y="462852"/>
                    </a:lnTo>
                    <a:lnTo>
                      <a:pt x="815391" y="462852"/>
                    </a:lnTo>
                    <a:lnTo>
                      <a:pt x="698661" y="462852"/>
                    </a:lnTo>
                    <a:lnTo>
                      <a:pt x="688127" y="462852"/>
                    </a:lnTo>
                    <a:lnTo>
                      <a:pt x="358690" y="462852"/>
                    </a:lnTo>
                    <a:lnTo>
                      <a:pt x="231426" y="462852"/>
                    </a:lnTo>
                    <a:cubicBezTo>
                      <a:pt x="103613" y="462852"/>
                      <a:pt x="0" y="359239"/>
                      <a:pt x="0" y="231426"/>
                    </a:cubicBezTo>
                    <a:cubicBezTo>
                      <a:pt x="0" y="103613"/>
                      <a:pt x="103613" y="0"/>
                      <a:pt x="231426" y="0"/>
                    </a:cubicBezTo>
                    <a:close/>
                  </a:path>
                </a:pathLst>
              </a:cu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14528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 flipH="1">
            <a:off x="5770879" y="8187"/>
            <a:ext cx="647993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2786"/>
            <a:endParaRPr lang="ru-RU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15946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400697" y="1960299"/>
            <a:ext cx="60821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ставление </a:t>
            </a:r>
            <a:r>
              <a:rPr lang="ru-RU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зонтичного» </a:t>
            </a:r>
            <a:r>
              <a:rPr lang="ru-RU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учительства </a:t>
            </a:r>
            <a:br>
              <a:rPr lang="ru-RU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pc="7" dirty="0">
                <a:gradFill>
                  <a:gsLst>
                    <a:gs pos="0">
                      <a:srgbClr val="FF6464"/>
                    </a:gs>
                    <a:gs pos="95000">
                      <a:schemeClr val="bg2"/>
                    </a:gs>
                  </a:gsLst>
                  <a:lin ang="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совместно с поручительством РГО 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6400697" y="1019331"/>
            <a:ext cx="595249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4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крытие </a:t>
            </a:r>
            <a:r>
              <a:rPr lang="ru-RU" sz="2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редита </a:t>
            </a:r>
            <a:br>
              <a:rPr lang="ru-RU" sz="2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2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едпринимателю</a:t>
            </a:r>
            <a:endParaRPr lang="ru-RU" sz="2400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425540" y="3352846"/>
            <a:ext cx="228265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начинающих </a:t>
            </a: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лодых предпринимателей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92997" y="762720"/>
            <a:ext cx="4845874" cy="209288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34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«Зонтичный» механизм </a:t>
            </a:r>
            <a:br>
              <a:rPr lang="ru-RU" sz="34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34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+ </a:t>
            </a:r>
          </a:p>
          <a:p>
            <a:pPr lvl="0">
              <a:defRPr/>
            </a:pPr>
            <a:r>
              <a:rPr lang="ru-RU" sz="34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ручительство РГО</a:t>
            </a:r>
            <a:endParaRPr lang="ru-RU" sz="3400" dirty="0">
              <a:solidFill>
                <a:srgbClr val="FF6464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9265819" y="3380636"/>
            <a:ext cx="227881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</a:t>
            </a:r>
            <a:r>
              <a:rPr lang="ru-RU" sz="14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сех 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раслей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6400697" y="2711462"/>
            <a:ext cx="1811569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45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90%</a:t>
            </a:r>
            <a:endParaRPr lang="ru-RU" sz="45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9236011" y="2711342"/>
            <a:ext cx="1811569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45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70%</a:t>
            </a:r>
            <a:endParaRPr lang="ru-RU" sz="45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697" y="4843622"/>
            <a:ext cx="563814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tabLst/>
              <a:defRPr/>
            </a:pP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ручительство по кредиту предоставляется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/>
            </a:r>
            <a:b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 12 банках-участниках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ри выдаче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редита</a:t>
            </a:r>
            <a:endParaRPr kumimoji="0" lang="ru-RU" sz="1600" b="0" i="0" u="none" strike="noStrike" kern="1200" cap="none" spc="7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>
                    <a:lumMod val="25000"/>
                    <a:lumOff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Финансовые меры поддержки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rgbClr val="191919">
                  <a:lumMod val="25000"/>
                  <a:lumOff val="7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306998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01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58234" y="0"/>
            <a:ext cx="582377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715202" y="844336"/>
            <a:ext cx="4597987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480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братная связь</a:t>
            </a:r>
            <a:endParaRPr lang="ru-RU" sz="4800" dirty="0">
              <a:solidFill>
                <a:schemeClr val="bg1">
                  <a:lumMod val="95000"/>
                </a:schemeClr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1026533" y="306999"/>
            <a:ext cx="604745" cy="322513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68963" y="3756910"/>
            <a:ext cx="465127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ww.corpmsp.ru</a:t>
            </a:r>
            <a:endParaRPr lang="ru-RU" sz="4400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63" y="4345125"/>
            <a:ext cx="1157376" cy="115737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7208" y="4253466"/>
            <a:ext cx="1340694" cy="1340694"/>
          </a:xfrm>
          <a:prstGeom prst="rect">
            <a:avLst/>
          </a:prstGeom>
        </p:spPr>
      </p:pic>
      <p:pic>
        <p:nvPicPr>
          <p:cNvPr id="34818" name="Picture 2" descr="http://qrcoder.ru/code/?https%3A%2F%2Fvk.com%2Fmspcorp&amp;4&amp;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96" y="5321274"/>
            <a:ext cx="938111" cy="93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6538973" y="844336"/>
            <a:ext cx="4934159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ообщите о своей проблеме </a:t>
            </a:r>
          </a:p>
          <a:p>
            <a:r>
              <a:rPr lang="ru-RU" sz="36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мы поможем разобраться с ней</a:t>
            </a:r>
            <a:endParaRPr lang="ru-RU" sz="3600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2" name="Picture 2" descr="http://qrcoder.ru/code/?https%3A%2F%2Fcorpmsp.ru%2F360%2F&amp;4&amp;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2795" y="3623933"/>
            <a:ext cx="2074736" cy="2074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4" name="Picture 2" descr="http://qrcoder.ru/code/?https%3A%2F%2Ft.me%2Fcorpmspof&amp;4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3748" y="5321274"/>
            <a:ext cx="938111" cy="93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8360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89</TotalTime>
  <Words>230</Words>
  <Application>Microsoft Office PowerPoint</Application>
  <PresentationFormat>Произвольный</PresentationFormat>
  <Paragraphs>78</Paragraphs>
  <Slides>6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Половинкина Анастасия Сергеевна</cp:lastModifiedBy>
  <cp:revision>602</cp:revision>
  <cp:lastPrinted>2022-05-17T14:56:52Z</cp:lastPrinted>
  <dcterms:created xsi:type="dcterms:W3CDTF">2022-02-09T17:47:39Z</dcterms:created>
  <dcterms:modified xsi:type="dcterms:W3CDTF">2022-09-19T10:09:34Z</dcterms:modified>
</cp:coreProperties>
</file>